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2"/>
  </p:notesMasterIdLst>
  <p:sldIdLst>
    <p:sldId id="302" r:id="rId2"/>
    <p:sldId id="332" r:id="rId3"/>
    <p:sldId id="333" r:id="rId4"/>
    <p:sldId id="272" r:id="rId5"/>
    <p:sldId id="312" r:id="rId6"/>
    <p:sldId id="313" r:id="rId7"/>
    <p:sldId id="299" r:id="rId8"/>
    <p:sldId id="275" r:id="rId9"/>
    <p:sldId id="322" r:id="rId10"/>
    <p:sldId id="321" r:id="rId11"/>
    <p:sldId id="323" r:id="rId12"/>
    <p:sldId id="325" r:id="rId13"/>
    <p:sldId id="287" r:id="rId14"/>
    <p:sldId id="288" r:id="rId15"/>
    <p:sldId id="327" r:id="rId16"/>
    <p:sldId id="328" r:id="rId17"/>
    <p:sldId id="295" r:id="rId18"/>
    <p:sldId id="296" r:id="rId19"/>
    <p:sldId id="276" r:id="rId20"/>
    <p:sldId id="292" r:id="rId21"/>
    <p:sldId id="308" r:id="rId22"/>
    <p:sldId id="318" r:id="rId23"/>
    <p:sldId id="281" r:id="rId24"/>
    <p:sldId id="300" r:id="rId25"/>
    <p:sldId id="301" r:id="rId26"/>
    <p:sldId id="338" r:id="rId27"/>
    <p:sldId id="334" r:id="rId28"/>
    <p:sldId id="335" r:id="rId29"/>
    <p:sldId id="336" r:id="rId30"/>
    <p:sldId id="337" r:id="rId31"/>
  </p:sldIdLst>
  <p:sldSz cx="12192000" cy="6858000"/>
  <p:notesSz cx="7086600" cy="93726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535353"/>
    <a:srgbClr val="A6A6A6"/>
    <a:srgbClr val="3264C8"/>
    <a:srgbClr val="7F9FDF"/>
    <a:srgbClr val="003399"/>
    <a:srgbClr val="A7BDE9"/>
    <a:srgbClr val="C8D8E6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94" autoAdjust="0"/>
    <p:restoredTop sz="93073" autoAdjust="0"/>
  </p:normalViewPr>
  <p:slideViewPr>
    <p:cSldViewPr showGuides="1">
      <p:cViewPr>
        <p:scale>
          <a:sx n="154" d="100"/>
          <a:sy n="154" d="100"/>
        </p:scale>
        <p:origin x="-144" y="896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0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</a:t>
            </a:r>
            <a:r>
              <a:rPr lang="en-US" sz="1400" dirty="0"/>
              <a:t>to solve complex proble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hierarchical data storage model </a:t>
            </a:r>
            <a:r>
              <a:rPr lang="en-US" sz="1400" dirty="0"/>
              <a:t>to manage tree-type hierarchical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P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fonts, colors, number format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77584" y="2620312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>
                <a:solidFill>
                  <a:srgbClr val="2850A0"/>
                </a:solidFill>
              </a:rPr>
              <a:t> 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486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702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5918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13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486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702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5918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13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419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749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3755688" y="1331317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3720000" y="609296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978790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842886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643086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97879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5363006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778990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627006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779006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695027"/>
            <a:ext cx="1421998" cy="283763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2266898"/>
            <a:ext cx="863832" cy="3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627006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2266898"/>
            <a:ext cx="612216" cy="48794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3058910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4103006"/>
            <a:ext cx="2808304" cy="2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3274934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3058910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915006"/>
            <a:ext cx="216000" cy="14390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895114"/>
            <a:ext cx="1512088" cy="37245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5015540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4427062"/>
            <a:ext cx="108004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4427006"/>
            <a:ext cx="1296104" cy="58853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4355006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5267568"/>
            <a:ext cx="1655792" cy="34746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5147142"/>
            <a:ext cx="215852" cy="21586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923006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3490958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867062"/>
            <a:ext cx="216000" cy="215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562966"/>
            <a:ext cx="899792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3347006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897858" y="2865316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643006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4427006"/>
            <a:ext cx="400200" cy="21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5147062"/>
            <a:ext cx="832200" cy="287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625861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rgbClr val="FF0000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rgbClr val="FF0000"/>
                </a:solidFill>
              </a:rPr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64</TotalTime>
  <Words>6010</Words>
  <Application>Microsoft Macintosh PowerPoint</Application>
  <PresentationFormat>Widescreen</PresentationFormat>
  <Paragraphs>811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B4P Solution Automate your data integration and analysis with a low-code analytics engine</vt:lpstr>
      <vt:lpstr>B4P Solution Based on 14 Years of Experience Solving Problems in a Global Corporation</vt:lpstr>
      <vt:lpstr>B4P Solution Supported Data Formats</vt:lpstr>
      <vt:lpstr>Real-world Use Case #1 Integrating Corporate data from branch offices worldwide</vt:lpstr>
      <vt:lpstr>Real-world Use Case #2 Information interchange between multiple different databases</vt:lpstr>
      <vt:lpstr>Real-world Use Case #3 Enriched Business Intelligence from many data sources</vt:lpstr>
      <vt:lpstr>B4P Language Key Benefits of a Low-Code Language Approach</vt:lpstr>
      <vt:lpstr>B4P Language Syntax and Semantics</vt:lpstr>
      <vt:lpstr>B4P Example #1 Merging Two Tables</vt:lpstr>
      <vt:lpstr>8 statements:  load, clean, align semantics, merge, and save</vt:lpstr>
      <vt:lpstr>PowerPoint Presentation</vt:lpstr>
      <vt:lpstr>B4P Example #2 Combining Stock Data: SP 500 and NASDAQ 100</vt:lpstr>
      <vt:lpstr>B4P Example #2 Combining Stock Data: SP 500 and NASDAQ 100</vt:lpstr>
      <vt:lpstr>B4P Example #3 Web Data: Analyzing all Presidents in Wikipedia</vt:lpstr>
      <vt:lpstr>B4P Example #3 Web Data: Analyzing all Presidents in Wikipedia</vt:lpstr>
      <vt:lpstr>B4P  Beyond Former Performance.</vt:lpstr>
      <vt:lpstr>PowerPoint Pre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 Presentation</vt:lpstr>
      <vt:lpstr>PowerPoint Presentation</vt:lpstr>
      <vt:lpstr>PowerPoint Presentation</vt:lpstr>
      <vt:lpstr>PowerPoint Presentation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62</cp:revision>
  <cp:lastPrinted>2012-05-04T14:30:29Z</cp:lastPrinted>
  <dcterms:created xsi:type="dcterms:W3CDTF">2016-02-06T20:40:56Z</dcterms:created>
  <dcterms:modified xsi:type="dcterms:W3CDTF">2021-05-20T22:53:33Z</dcterms:modified>
</cp:coreProperties>
</file>